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0" r:id="rId3"/>
    <p:sldMasterId id="2147483690" r:id="rId4"/>
    <p:sldMasterId id="2147483700" r:id="rId5"/>
    <p:sldMasterId id="2147483710" r:id="rId6"/>
  </p:sldMasterIdLst>
  <p:notesMasterIdLst>
    <p:notesMasterId r:id="rId20"/>
  </p:notesMasterIdLst>
  <p:sldIdLst>
    <p:sldId id="257" r:id="rId7"/>
    <p:sldId id="258" r:id="rId8"/>
    <p:sldId id="259" r:id="rId9"/>
    <p:sldId id="265" r:id="rId10"/>
    <p:sldId id="260" r:id="rId11"/>
    <p:sldId id="264" r:id="rId12"/>
    <p:sldId id="261" r:id="rId13"/>
    <p:sldId id="266" r:id="rId14"/>
    <p:sldId id="269" r:id="rId15"/>
    <p:sldId id="262" r:id="rId16"/>
    <p:sldId id="267" r:id="rId17"/>
    <p:sldId id="263" r:id="rId18"/>
    <p:sldId id="268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284" y="-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8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A6C12B-15CE-431F-9D71-A6D6C8A53352}" type="datetimeFigureOut">
              <a:rPr lang="en-US" smtClean="0"/>
              <a:t>05-Dec-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D3162C-50D8-454A-9F7F-BAEC6FB64B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516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>
                <a:solidFill>
                  <a:prstClr val="black"/>
                </a:solidFill>
              </a:rPr>
              <a:pPr/>
              <a:t>1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>
                <a:solidFill>
                  <a:prstClr val="black"/>
                </a:solidFill>
              </a:rPr>
              <a:pPr/>
              <a:t>1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8038" y="211138"/>
            <a:ext cx="5195887" cy="3897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94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20"/>
            <a:ext cx="9144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752" tIns="46671" rIns="89752" bIns="46671" numCol="1" rtlCol="0" anchor="ctr" anchorCtr="0" compatLnSpc="1">
            <a:prstTxWarp prst="textNoShape">
              <a:avLst/>
            </a:prstTxWarp>
          </a:bodyPr>
          <a:lstStyle/>
          <a:p>
            <a:pPr defTabSz="911874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00000"/>
              </a:solidFill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80"/>
            <a:ext cx="7810706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435" y="3044831"/>
            <a:ext cx="77724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97249" y="755820"/>
            <a:ext cx="3661646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60365" y="6436490"/>
            <a:ext cx="5287701" cy="327992"/>
          </a:xfrm>
          <a:prstGeom prst="rect">
            <a:avLst/>
          </a:prstGeom>
        </p:spPr>
        <p:txBody>
          <a:bodyPr lIns="91188" tIns="45592" rIns="91188" bIns="45592"/>
          <a:lstStyle>
            <a:lvl1pPr>
              <a:defRPr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smtClean="0">
                <a:solidFill>
                  <a:srgbClr val="000000"/>
                </a:solidFill>
              </a:rPr>
              <a:t>International Baccalaureate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calaureate Internat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hillerato Internac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 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Picture 8" descr="Corporate slide 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20"/>
            <a:ext cx="9144000" cy="686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4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20"/>
            <a:ext cx="9144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752" tIns="46671" rIns="89752" bIns="46671" numCol="1" rtlCol="0" anchor="ctr" anchorCtr="0" compatLnSpc="1">
            <a:prstTxWarp prst="textNoShape">
              <a:avLst/>
            </a:prstTxWarp>
          </a:bodyPr>
          <a:lstStyle/>
          <a:p>
            <a:pPr defTabSz="911874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00000"/>
              </a:solidFill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80"/>
            <a:ext cx="7810706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435" y="3044831"/>
            <a:ext cx="77724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97249" y="755820"/>
            <a:ext cx="3661646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60363" y="6436490"/>
            <a:ext cx="5287701" cy="327992"/>
          </a:xfrm>
          <a:prstGeom prst="rect">
            <a:avLst/>
          </a:prstGeom>
        </p:spPr>
        <p:txBody>
          <a:bodyPr lIns="91188" tIns="45592" rIns="91188" bIns="45592"/>
          <a:lstStyle>
            <a:lvl1pPr>
              <a:defRPr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smtClean="0">
                <a:solidFill>
                  <a:srgbClr val="000000"/>
                </a:solidFill>
              </a:rPr>
              <a:t>International Baccalaureate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calaureate Internat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hillerato Internac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 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Picture 8" descr="Corporate slide 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20"/>
            <a:ext cx="9144000" cy="686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23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56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1729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3"/>
            <a:ext cx="9144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56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rgbClr val="1AB7EA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2423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92016" y="1603375"/>
            <a:ext cx="7989277" cy="4114800"/>
          </a:xfrm>
        </p:spPr>
        <p:txBody>
          <a:bodyPr/>
          <a:lstStyle>
            <a:lvl3pPr marL="721902" indent="353035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698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2103" y="1535116"/>
            <a:ext cx="4711626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5936" indent="0">
              <a:buNone/>
              <a:defRPr sz="2000" b="1"/>
            </a:lvl2pPr>
            <a:lvl3pPr marL="911874" indent="0">
              <a:buNone/>
              <a:defRPr sz="1800" b="1"/>
            </a:lvl3pPr>
            <a:lvl4pPr marL="1367813" indent="0">
              <a:buNone/>
              <a:defRPr sz="1600" b="1"/>
            </a:lvl4pPr>
            <a:lvl5pPr marL="1823757" indent="0">
              <a:buNone/>
              <a:defRPr sz="1600" b="1"/>
            </a:lvl5pPr>
            <a:lvl6pPr marL="2279689" indent="0">
              <a:buNone/>
              <a:defRPr sz="1600" b="1"/>
            </a:lvl6pPr>
            <a:lvl7pPr marL="2735633" indent="0">
              <a:buNone/>
              <a:defRPr sz="1600" b="1"/>
            </a:lvl7pPr>
            <a:lvl8pPr marL="3191562" indent="0">
              <a:buNone/>
              <a:defRPr sz="1600" b="1"/>
            </a:lvl8pPr>
            <a:lvl9pPr marL="36474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103" y="2361063"/>
            <a:ext cx="4711626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7368" y="1535113"/>
            <a:ext cx="3113942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523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530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4" y="6245282"/>
            <a:ext cx="2130425" cy="473075"/>
          </a:xfrm>
          <a:prstGeom prst="rect">
            <a:avLst/>
          </a:prstGeom>
        </p:spPr>
        <p:txBody>
          <a:bodyPr lIns="91188" tIns="45592" rIns="91188" bIns="45592"/>
          <a:lstStyle>
            <a:lvl1pPr algn="r" defTabSz="911874">
              <a:buSzTx/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fld id="{8451C162-C67D-438E-AA8C-E0F720924B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6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343546" y="2749391"/>
            <a:ext cx="7487000" cy="96761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800" b="1" kern="1200" cap="none" baseline="0" dirty="0">
                <a:solidFill>
                  <a:schemeClr val="bg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1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 page here</a:t>
            </a:r>
            <a:endParaRPr lang="en-GB" dirty="0"/>
          </a:p>
        </p:txBody>
      </p:sp>
      <p:pic>
        <p:nvPicPr>
          <p:cNvPr id="3" name="Picture 2" descr="Corporate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" y="0"/>
            <a:ext cx="9184081" cy="688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98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92105" y="1309689"/>
            <a:ext cx="7989189" cy="4367781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1074779" indent="-352984">
              <a:defRPr sz="18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27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20"/>
            <a:ext cx="9144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752" tIns="46671" rIns="89752" bIns="46671" numCol="1" rtlCol="0" anchor="ctr" anchorCtr="0" compatLnSpc="1">
            <a:prstTxWarp prst="textNoShape">
              <a:avLst/>
            </a:prstTxWarp>
          </a:bodyPr>
          <a:lstStyle/>
          <a:p>
            <a:pPr defTabSz="911874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00000"/>
              </a:solidFill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80"/>
            <a:ext cx="7810706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435" y="3044831"/>
            <a:ext cx="77724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97249" y="755820"/>
            <a:ext cx="3661646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60360" y="6436490"/>
            <a:ext cx="5287701" cy="327992"/>
          </a:xfrm>
          <a:prstGeom prst="rect">
            <a:avLst/>
          </a:prstGeom>
        </p:spPr>
        <p:txBody>
          <a:bodyPr lIns="91188" tIns="45592" rIns="91188" bIns="45592"/>
          <a:lstStyle>
            <a:lvl1pPr>
              <a:defRPr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smtClean="0">
                <a:solidFill>
                  <a:srgbClr val="000000"/>
                </a:solidFill>
              </a:rPr>
              <a:t>International Baccalaureate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calaureate Internat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hillerato Internac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 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Picture 8" descr="Corporate slide 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20"/>
            <a:ext cx="9144000" cy="686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5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60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95140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50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6604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3"/>
            <a:ext cx="9144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50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rgbClr val="1AB7EA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85339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92016" y="1603375"/>
            <a:ext cx="7989277" cy="4114800"/>
          </a:xfrm>
        </p:spPr>
        <p:txBody>
          <a:bodyPr/>
          <a:lstStyle>
            <a:lvl3pPr marL="721902" indent="353035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571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2103" y="1535116"/>
            <a:ext cx="4711626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5936" indent="0">
              <a:buNone/>
              <a:defRPr sz="2000" b="1"/>
            </a:lvl2pPr>
            <a:lvl3pPr marL="911874" indent="0">
              <a:buNone/>
              <a:defRPr sz="1800" b="1"/>
            </a:lvl3pPr>
            <a:lvl4pPr marL="1367813" indent="0">
              <a:buNone/>
              <a:defRPr sz="1600" b="1"/>
            </a:lvl4pPr>
            <a:lvl5pPr marL="1823757" indent="0">
              <a:buNone/>
              <a:defRPr sz="1600" b="1"/>
            </a:lvl5pPr>
            <a:lvl6pPr marL="2279689" indent="0">
              <a:buNone/>
              <a:defRPr sz="1600" b="1"/>
            </a:lvl6pPr>
            <a:lvl7pPr marL="2735633" indent="0">
              <a:buNone/>
              <a:defRPr sz="1600" b="1"/>
            </a:lvl7pPr>
            <a:lvl8pPr marL="3191562" indent="0">
              <a:buNone/>
              <a:defRPr sz="1600" b="1"/>
            </a:lvl8pPr>
            <a:lvl9pPr marL="36474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103" y="2361063"/>
            <a:ext cx="4711626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7368" y="1535113"/>
            <a:ext cx="3113942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5551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61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4" y="6245276"/>
            <a:ext cx="2130425" cy="473075"/>
          </a:xfrm>
          <a:prstGeom prst="rect">
            <a:avLst/>
          </a:prstGeom>
        </p:spPr>
        <p:txBody>
          <a:bodyPr lIns="91188" tIns="45592" rIns="91188" bIns="45592"/>
          <a:lstStyle>
            <a:lvl1pPr algn="r" defTabSz="911874">
              <a:buSzTx/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fld id="{8451C162-C67D-438E-AA8C-E0F720924B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88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343546" y="2749385"/>
            <a:ext cx="7487000" cy="96761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800" b="1" kern="1200" cap="none" baseline="0" dirty="0">
                <a:solidFill>
                  <a:schemeClr val="bg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1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 page here</a:t>
            </a:r>
            <a:endParaRPr lang="en-GB" dirty="0"/>
          </a:p>
        </p:txBody>
      </p:sp>
      <p:pic>
        <p:nvPicPr>
          <p:cNvPr id="3" name="Picture 2" descr="Corporate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" y="0"/>
            <a:ext cx="9184081" cy="688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89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92105" y="1309689"/>
            <a:ext cx="7989189" cy="4367781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1074779" indent="-352984">
              <a:defRPr sz="18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106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20"/>
            <a:ext cx="9144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752" tIns="46671" rIns="89752" bIns="46671" numCol="1" rtlCol="0" anchor="ctr" anchorCtr="0" compatLnSpc="1">
            <a:prstTxWarp prst="textNoShape">
              <a:avLst/>
            </a:prstTxWarp>
          </a:bodyPr>
          <a:lstStyle/>
          <a:p>
            <a:pPr defTabSz="911874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00000"/>
              </a:solidFill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80"/>
            <a:ext cx="7810706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435" y="3044831"/>
            <a:ext cx="77724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97249" y="755820"/>
            <a:ext cx="3661646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60356" y="6436490"/>
            <a:ext cx="5287701" cy="327992"/>
          </a:xfrm>
          <a:prstGeom prst="rect">
            <a:avLst/>
          </a:prstGeom>
        </p:spPr>
        <p:txBody>
          <a:bodyPr lIns="91188" tIns="45592" rIns="91188" bIns="45592"/>
          <a:lstStyle>
            <a:lvl1pPr>
              <a:defRPr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smtClean="0">
                <a:solidFill>
                  <a:srgbClr val="000000"/>
                </a:solidFill>
              </a:rPr>
              <a:t>International Baccalaureate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calaureate Internat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hillerato Internac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 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Picture 8" descr="Corporate slide 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20"/>
            <a:ext cx="9144000" cy="686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280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42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0259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3"/>
            <a:ext cx="9144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60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rgbClr val="1AB7EA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53871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3"/>
            <a:ext cx="9144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42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rgbClr val="1AB7EA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3340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92016" y="1603375"/>
            <a:ext cx="7989277" cy="4114800"/>
          </a:xfrm>
        </p:spPr>
        <p:txBody>
          <a:bodyPr/>
          <a:lstStyle>
            <a:lvl3pPr marL="721902" indent="353035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530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2103" y="1535116"/>
            <a:ext cx="4711626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5936" indent="0">
              <a:buNone/>
              <a:defRPr sz="2000" b="1"/>
            </a:lvl2pPr>
            <a:lvl3pPr marL="911874" indent="0">
              <a:buNone/>
              <a:defRPr sz="1800" b="1"/>
            </a:lvl3pPr>
            <a:lvl4pPr marL="1367813" indent="0">
              <a:buNone/>
              <a:defRPr sz="1600" b="1"/>
            </a:lvl4pPr>
            <a:lvl5pPr marL="1823757" indent="0">
              <a:buNone/>
              <a:defRPr sz="1600" b="1"/>
            </a:lvl5pPr>
            <a:lvl6pPr marL="2279689" indent="0">
              <a:buNone/>
              <a:defRPr sz="1600" b="1"/>
            </a:lvl6pPr>
            <a:lvl7pPr marL="2735633" indent="0">
              <a:buNone/>
              <a:defRPr sz="1600" b="1"/>
            </a:lvl7pPr>
            <a:lvl8pPr marL="3191562" indent="0">
              <a:buNone/>
              <a:defRPr sz="1600" b="1"/>
            </a:lvl8pPr>
            <a:lvl9pPr marL="36474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103" y="2361063"/>
            <a:ext cx="4711626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7368" y="1535113"/>
            <a:ext cx="3113942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49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747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4" y="6245268"/>
            <a:ext cx="2130425" cy="473075"/>
          </a:xfrm>
          <a:prstGeom prst="rect">
            <a:avLst/>
          </a:prstGeom>
        </p:spPr>
        <p:txBody>
          <a:bodyPr lIns="91188" tIns="45592" rIns="91188" bIns="45592"/>
          <a:lstStyle>
            <a:lvl1pPr algn="r" defTabSz="911874">
              <a:buSzTx/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fld id="{8451C162-C67D-438E-AA8C-E0F720924B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51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343546" y="2749377"/>
            <a:ext cx="7487000" cy="96761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800" b="1" kern="1200" cap="none" baseline="0" dirty="0">
                <a:solidFill>
                  <a:schemeClr val="bg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1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 page here</a:t>
            </a:r>
            <a:endParaRPr lang="en-GB" dirty="0"/>
          </a:p>
        </p:txBody>
      </p:sp>
      <p:pic>
        <p:nvPicPr>
          <p:cNvPr id="3" name="Picture 2" descr="Corporate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" y="0"/>
            <a:ext cx="9184081" cy="688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87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92105" y="1309689"/>
            <a:ext cx="7989189" cy="4367781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1074779" indent="-352984">
              <a:defRPr sz="18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42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20"/>
            <a:ext cx="9144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752" tIns="46671" rIns="89752" bIns="46671" numCol="1" rtlCol="0" anchor="ctr" anchorCtr="0" compatLnSpc="1">
            <a:prstTxWarp prst="textNoShape">
              <a:avLst/>
            </a:prstTxWarp>
          </a:bodyPr>
          <a:lstStyle/>
          <a:p>
            <a:pPr defTabSz="911874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00000"/>
              </a:solidFill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80"/>
            <a:ext cx="7810706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435" y="3044831"/>
            <a:ext cx="77724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97249" y="755820"/>
            <a:ext cx="3661646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60351" y="6436490"/>
            <a:ext cx="5287701" cy="327992"/>
          </a:xfrm>
          <a:prstGeom prst="rect">
            <a:avLst/>
          </a:prstGeom>
        </p:spPr>
        <p:txBody>
          <a:bodyPr lIns="91188" tIns="45592" rIns="91188" bIns="45592"/>
          <a:lstStyle>
            <a:lvl1pPr>
              <a:defRPr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smtClean="0">
                <a:solidFill>
                  <a:srgbClr val="000000"/>
                </a:solidFill>
              </a:rPr>
              <a:t>International Baccalaureate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calaureate Internat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hillerato Internac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 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Picture 8" descr="Corporate slide 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20"/>
            <a:ext cx="9144000" cy="686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21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32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6757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3"/>
            <a:ext cx="9144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32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rgbClr val="1AB7EA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8680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92016" y="1603375"/>
            <a:ext cx="7989277" cy="4114800"/>
          </a:xfrm>
        </p:spPr>
        <p:txBody>
          <a:bodyPr/>
          <a:lstStyle>
            <a:lvl3pPr marL="721902" indent="353035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1619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92016" y="1603375"/>
            <a:ext cx="7989277" cy="4114800"/>
          </a:xfrm>
        </p:spPr>
        <p:txBody>
          <a:bodyPr/>
          <a:lstStyle>
            <a:lvl3pPr marL="721902" indent="353035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3612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2103" y="1535116"/>
            <a:ext cx="4711626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5936" indent="0">
              <a:buNone/>
              <a:defRPr sz="2000" b="1"/>
            </a:lvl2pPr>
            <a:lvl3pPr marL="911874" indent="0">
              <a:buNone/>
              <a:defRPr sz="1800" b="1"/>
            </a:lvl3pPr>
            <a:lvl4pPr marL="1367813" indent="0">
              <a:buNone/>
              <a:defRPr sz="1600" b="1"/>
            </a:lvl4pPr>
            <a:lvl5pPr marL="1823757" indent="0">
              <a:buNone/>
              <a:defRPr sz="1600" b="1"/>
            </a:lvl5pPr>
            <a:lvl6pPr marL="2279689" indent="0">
              <a:buNone/>
              <a:defRPr sz="1600" b="1"/>
            </a:lvl6pPr>
            <a:lvl7pPr marL="2735633" indent="0">
              <a:buNone/>
              <a:defRPr sz="1600" b="1"/>
            </a:lvl7pPr>
            <a:lvl8pPr marL="3191562" indent="0">
              <a:buNone/>
              <a:defRPr sz="1600" b="1"/>
            </a:lvl8pPr>
            <a:lvl9pPr marL="36474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103" y="2361063"/>
            <a:ext cx="4711626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7368" y="1535113"/>
            <a:ext cx="3113942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64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335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4" y="6245258"/>
            <a:ext cx="2130425" cy="473075"/>
          </a:xfrm>
          <a:prstGeom prst="rect">
            <a:avLst/>
          </a:prstGeom>
        </p:spPr>
        <p:txBody>
          <a:bodyPr lIns="91188" tIns="45592" rIns="91188" bIns="45592"/>
          <a:lstStyle>
            <a:lvl1pPr algn="r" defTabSz="911874">
              <a:buSzTx/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fld id="{8451C162-C67D-438E-AA8C-E0F720924B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56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343546" y="2749367"/>
            <a:ext cx="7487000" cy="96761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800" b="1" kern="1200" cap="none" baseline="0" dirty="0">
                <a:solidFill>
                  <a:schemeClr val="bg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1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 page here</a:t>
            </a:r>
            <a:endParaRPr lang="en-GB" dirty="0"/>
          </a:p>
        </p:txBody>
      </p:sp>
      <p:pic>
        <p:nvPicPr>
          <p:cNvPr id="3" name="Picture 2" descr="Corporate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" y="0"/>
            <a:ext cx="9184081" cy="688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8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92105" y="1309689"/>
            <a:ext cx="7989189" cy="4367781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1074779" indent="-352984">
              <a:defRPr sz="18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748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20"/>
            <a:ext cx="9144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752" tIns="46671" rIns="89752" bIns="46671" numCol="1" rtlCol="0" anchor="ctr" anchorCtr="0" compatLnSpc="1">
            <a:prstTxWarp prst="textNoShape">
              <a:avLst/>
            </a:prstTxWarp>
          </a:bodyPr>
          <a:lstStyle/>
          <a:p>
            <a:pPr defTabSz="911874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00000"/>
              </a:solidFill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80"/>
            <a:ext cx="7810706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435" y="3044827"/>
            <a:ext cx="77724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97249" y="755820"/>
            <a:ext cx="3661646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60345" y="6436490"/>
            <a:ext cx="5287701" cy="327992"/>
          </a:xfrm>
          <a:prstGeom prst="rect">
            <a:avLst/>
          </a:prstGeom>
        </p:spPr>
        <p:txBody>
          <a:bodyPr lIns="91188" tIns="45592" rIns="91188" bIns="45592"/>
          <a:lstStyle>
            <a:lvl1pPr>
              <a:defRPr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smtClean="0">
                <a:solidFill>
                  <a:srgbClr val="000000"/>
                </a:solidFill>
              </a:rPr>
              <a:t>International Baccalaureate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calaureate Internat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hillerato Internac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 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Picture 8" descr="Corporate slide 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20"/>
            <a:ext cx="9144000" cy="686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46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20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5900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0"/>
            <a:ext cx="9144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30" y="2387620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rgbClr val="1AB7EA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1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4405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92016" y="1603375"/>
            <a:ext cx="7989277" cy="4114800"/>
          </a:xfrm>
        </p:spPr>
        <p:txBody>
          <a:bodyPr/>
          <a:lstStyle>
            <a:lvl3pPr marL="721902" indent="353035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5562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2103" y="1535116"/>
            <a:ext cx="4711626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5936" indent="0">
              <a:buNone/>
              <a:defRPr sz="2000" b="1"/>
            </a:lvl2pPr>
            <a:lvl3pPr marL="911874" indent="0">
              <a:buNone/>
              <a:defRPr sz="1800" b="1"/>
            </a:lvl3pPr>
            <a:lvl4pPr marL="1367813" indent="0">
              <a:buNone/>
              <a:defRPr sz="1600" b="1"/>
            </a:lvl4pPr>
            <a:lvl5pPr marL="1823757" indent="0">
              <a:buNone/>
              <a:defRPr sz="1600" b="1"/>
            </a:lvl5pPr>
            <a:lvl6pPr marL="2279689" indent="0">
              <a:buNone/>
              <a:defRPr sz="1600" b="1"/>
            </a:lvl6pPr>
            <a:lvl7pPr marL="2735633" indent="0">
              <a:buNone/>
              <a:defRPr sz="1600" b="1"/>
            </a:lvl7pPr>
            <a:lvl8pPr marL="3191562" indent="0">
              <a:buNone/>
              <a:defRPr sz="1600" b="1"/>
            </a:lvl8pPr>
            <a:lvl9pPr marL="36474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103" y="2361063"/>
            <a:ext cx="4711626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7368" y="1535113"/>
            <a:ext cx="3113942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789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2103" y="1535116"/>
            <a:ext cx="4711626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5936" indent="0">
              <a:buNone/>
              <a:defRPr sz="2000" b="1"/>
            </a:lvl2pPr>
            <a:lvl3pPr marL="911874" indent="0">
              <a:buNone/>
              <a:defRPr sz="1800" b="1"/>
            </a:lvl3pPr>
            <a:lvl4pPr marL="1367813" indent="0">
              <a:buNone/>
              <a:defRPr sz="1600" b="1"/>
            </a:lvl4pPr>
            <a:lvl5pPr marL="1823757" indent="0">
              <a:buNone/>
              <a:defRPr sz="1600" b="1"/>
            </a:lvl5pPr>
            <a:lvl6pPr marL="2279689" indent="0">
              <a:buNone/>
              <a:defRPr sz="1600" b="1"/>
            </a:lvl6pPr>
            <a:lvl7pPr marL="2735633" indent="0">
              <a:buNone/>
              <a:defRPr sz="1600" b="1"/>
            </a:lvl7pPr>
            <a:lvl8pPr marL="3191562" indent="0">
              <a:buNone/>
              <a:defRPr sz="1600" b="1"/>
            </a:lvl8pPr>
            <a:lvl9pPr marL="36474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103" y="2361063"/>
            <a:ext cx="4711626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7368" y="1535113"/>
            <a:ext cx="3113942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16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612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1" y="6245246"/>
            <a:ext cx="2130425" cy="473075"/>
          </a:xfrm>
          <a:prstGeom prst="rect">
            <a:avLst/>
          </a:prstGeom>
        </p:spPr>
        <p:txBody>
          <a:bodyPr lIns="91188" tIns="45592" rIns="91188" bIns="45592"/>
          <a:lstStyle>
            <a:lvl1pPr algn="r" defTabSz="911874">
              <a:buSzTx/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fld id="{8451C162-C67D-438E-AA8C-E0F720924B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44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343541" y="2749355"/>
            <a:ext cx="7487000" cy="96761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800" b="1" kern="1200" cap="none" baseline="0" dirty="0">
                <a:solidFill>
                  <a:schemeClr val="bg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1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 page here</a:t>
            </a:r>
            <a:endParaRPr lang="en-GB" dirty="0"/>
          </a:p>
        </p:txBody>
      </p:sp>
      <p:pic>
        <p:nvPicPr>
          <p:cNvPr id="3" name="Picture 2" descr="Corporate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" y="0"/>
            <a:ext cx="9184081" cy="688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69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92103" y="1309689"/>
            <a:ext cx="7989189" cy="4367781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1074779" indent="-352984">
              <a:defRPr sz="18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12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154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xfrm>
            <a:off x="457204" y="6245286"/>
            <a:ext cx="2130425" cy="473075"/>
          </a:xfrm>
          <a:prstGeom prst="rect">
            <a:avLst/>
          </a:prstGeom>
        </p:spPr>
        <p:txBody>
          <a:bodyPr lIns="91188" tIns="45592" rIns="91188" bIns="45592"/>
          <a:lstStyle>
            <a:lvl1pPr algn="r" defTabSz="911874">
              <a:buSzTx/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algn="r" defTabSz="911874">
              <a:buSzTx/>
              <a:defRPr/>
            </a:lvl1pPr>
          </a:lstStyle>
          <a:p>
            <a:pPr>
              <a:defRPr/>
            </a:pPr>
            <a:fld id="{8451C162-C67D-438E-AA8C-E0F720924B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234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343546" y="2749395"/>
            <a:ext cx="7487000" cy="96761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GB" sz="4800" b="1" kern="1200" cap="none" baseline="0" dirty="0">
                <a:solidFill>
                  <a:schemeClr val="bg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1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 page here</a:t>
            </a:r>
            <a:endParaRPr lang="en-GB" dirty="0"/>
          </a:p>
        </p:txBody>
      </p:sp>
      <p:pic>
        <p:nvPicPr>
          <p:cNvPr id="3" name="Picture 2" descr="Corporate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" y="0"/>
            <a:ext cx="9184081" cy="688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593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92105" y="1309689"/>
            <a:ext cx="7989189" cy="4367781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1074779" indent="-352984">
              <a:defRPr sz="18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127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41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ags" Target="../tags/tag1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50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" y="5738838"/>
            <a:ext cx="9144000" cy="112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592105" y="593725"/>
            <a:ext cx="7989189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592105" y="1548245"/>
            <a:ext cx="7989189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933633" y="6356392"/>
            <a:ext cx="1952679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886344" y="6356392"/>
            <a:ext cx="800493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508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593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187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678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375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4617" indent="-354617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18011" indent="-35900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1773" indent="1108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396836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0824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77017" indent="-35900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22696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7863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3457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36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74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1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57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89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63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562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498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" y="5738834"/>
            <a:ext cx="9144000" cy="112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592105" y="593725"/>
            <a:ext cx="7989189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592105" y="1548245"/>
            <a:ext cx="7989189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933633" y="6356388"/>
            <a:ext cx="1952679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886342" y="6356388"/>
            <a:ext cx="800493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307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593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187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678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375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4617" indent="-354617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18011" indent="-35900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1773" indent="1108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396836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0824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77017" indent="-35900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22696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7863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3457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36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74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1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57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89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63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562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498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" y="5738828"/>
            <a:ext cx="9144000" cy="112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592105" y="593725"/>
            <a:ext cx="7989189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592105" y="1548245"/>
            <a:ext cx="7989189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933633" y="6356382"/>
            <a:ext cx="1952679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886339" y="6356382"/>
            <a:ext cx="800493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51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593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187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678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375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4617" indent="-354617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18011" indent="-35900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1773" indent="1108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396836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0824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77017" indent="-35900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22696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7863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3457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36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74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1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57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89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63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562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498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" y="5738820"/>
            <a:ext cx="9144000" cy="112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592105" y="593725"/>
            <a:ext cx="7989189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592105" y="1548245"/>
            <a:ext cx="7989189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933633" y="6356374"/>
            <a:ext cx="1952679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886335" y="6356374"/>
            <a:ext cx="800493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489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593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187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678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375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4617" indent="-354617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18011" indent="-35900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1773" indent="1108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396836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0824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77017" indent="-35900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22696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7863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3457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36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74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1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57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89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63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562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498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" y="5738810"/>
            <a:ext cx="9144000" cy="112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592105" y="593725"/>
            <a:ext cx="7989189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592105" y="1548245"/>
            <a:ext cx="7989189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933633" y="6356364"/>
            <a:ext cx="1952679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886330" y="6356364"/>
            <a:ext cx="800493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61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593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187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678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375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4617" indent="-354617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18011" indent="-35900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1773" indent="1108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396836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0824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77017" indent="-35900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22696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7863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3457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36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74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1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57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89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63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562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498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" y="5738798"/>
            <a:ext cx="9144000" cy="112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592104" y="593725"/>
            <a:ext cx="7989189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592103" y="1548245"/>
            <a:ext cx="7989189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933627" y="6356352"/>
            <a:ext cx="1952679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886324" y="6356352"/>
            <a:ext cx="800493" cy="365125"/>
          </a:xfrm>
          <a:prstGeom prst="rect">
            <a:avLst/>
          </a:prstGeom>
        </p:spPr>
        <p:txBody>
          <a:bodyPr vert="horz" lIns="91188" tIns="45592" rIns="91188" bIns="45592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976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593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187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678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375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4617" indent="-354617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18011" indent="-35900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1773" indent="1108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396836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0824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77017" indent="-35900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22696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7863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3457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36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74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1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57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89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633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562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498" algn="l" defTabSz="9118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024877" y="2490171"/>
            <a:ext cx="7071868" cy="2572896"/>
          </a:xfrm>
        </p:spPr>
        <p:txBody>
          <a:bodyPr/>
          <a:lstStyle/>
          <a:p>
            <a:pPr marL="0" indent="0" algn="ctr">
              <a:buClrTx/>
              <a:buNone/>
              <a:tabLst>
                <a:tab pos="0" algn="l"/>
                <a:tab pos="104487" algn="l"/>
                <a:tab pos="552509" algn="l"/>
                <a:tab pos="1000529" algn="l"/>
                <a:tab pos="1448552" algn="l"/>
                <a:tab pos="1896574" algn="l"/>
                <a:tab pos="2344595" algn="l"/>
                <a:tab pos="2792618" algn="l"/>
                <a:tab pos="3240632" algn="l"/>
                <a:tab pos="3688661" algn="l"/>
                <a:tab pos="4136682" algn="l"/>
                <a:tab pos="4584703" algn="l"/>
                <a:tab pos="5032725" algn="l"/>
                <a:tab pos="5480750" algn="l"/>
                <a:tab pos="5928770" algn="l"/>
                <a:tab pos="6376788" algn="l"/>
                <a:tab pos="6824814" algn="l"/>
                <a:tab pos="7272830" algn="l"/>
                <a:tab pos="7720855" algn="l"/>
                <a:tab pos="8168879" algn="l"/>
                <a:tab pos="8616901" algn="l"/>
              </a:tabLst>
            </a:pPr>
            <a:r>
              <a:rPr lang="en-GB" altLang="en-US" sz="6000" dirty="0"/>
              <a:t>The Computer Science Projec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961311" y="612640"/>
            <a:ext cx="7685532" cy="1015404"/>
          </a:xfrm>
          <a:prstGeom prst="rect">
            <a:avLst/>
          </a:prstGeom>
          <a:noFill/>
        </p:spPr>
        <p:txBody>
          <a:bodyPr wrap="square" lIns="91188" tIns="45592" rIns="91188" bIns="45592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104487" algn="l"/>
                <a:tab pos="552509" algn="l"/>
                <a:tab pos="1000529" algn="l"/>
                <a:tab pos="1448552" algn="l"/>
                <a:tab pos="1896574" algn="l"/>
                <a:tab pos="2344595" algn="l"/>
                <a:tab pos="2792618" algn="l"/>
                <a:tab pos="3240632" algn="l"/>
                <a:tab pos="3688661" algn="l"/>
                <a:tab pos="4136682" algn="l"/>
                <a:tab pos="4584703" algn="l"/>
                <a:tab pos="5032725" algn="l"/>
                <a:tab pos="5480750" algn="l"/>
                <a:tab pos="5928770" algn="l"/>
                <a:tab pos="6376788" algn="l"/>
                <a:tab pos="6824814" algn="l"/>
                <a:tab pos="7272830" algn="l"/>
                <a:tab pos="7720855" algn="l"/>
                <a:tab pos="8168879" algn="l"/>
                <a:tab pos="8616901" algn="l"/>
              </a:tabLst>
            </a:pPr>
            <a:r>
              <a:rPr lang="en-GB" altLang="en-US" sz="6000" dirty="0">
                <a:solidFill>
                  <a:srgbClr val="004B8D"/>
                </a:solidFill>
              </a:rPr>
              <a:t>Internal Assessment </a:t>
            </a:r>
          </a:p>
        </p:txBody>
      </p:sp>
    </p:spTree>
    <p:extLst>
      <p:ext uri="{BB962C8B-B14F-4D97-AF65-F5344CB8AC3E}">
        <p14:creationId xmlns:p14="http://schemas.microsoft.com/office/powerpoint/2010/main" val="103578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524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" y="1550371"/>
            <a:ext cx="8893908" cy="3969895"/>
          </a:xfrm>
        </p:spPr>
        <p:txBody>
          <a:bodyPr/>
          <a:lstStyle/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video shows that product functions well</a:t>
            </a:r>
            <a:endParaRPr lang="en-GB" altLang="en-US" sz="2000" dirty="0"/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2000" dirty="0"/>
              <a:t>          - all success criteria from A are tested</a:t>
            </a:r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2000" dirty="0"/>
              <a:t>          - includes evidence of permanent changes</a:t>
            </a:r>
          </a:p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extensibility and modification of product straightforward</a:t>
            </a:r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2000" dirty="0"/>
              <a:t>          - reasonable design stage</a:t>
            </a:r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2000" dirty="0"/>
              <a:t>          - documented code in an accessible appendix (text file)</a:t>
            </a:r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endParaRPr lang="en-GB" altLang="en-US" sz="2000" dirty="0"/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2000" dirty="0"/>
              <a:t>          (Screen-O-Matic.com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185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</a:t>
            </a:r>
            <a:r>
              <a:rPr lang="es-ES" altLang="en-US" sz="4000" b="0" dirty="0" smtClean="0">
                <a:solidFill>
                  <a:srgbClr val="0070C0"/>
                </a:solidFill>
              </a:rPr>
              <a:t>D - </a:t>
            </a:r>
            <a:r>
              <a:rPr lang="es-ES" altLang="en-US" sz="4000" b="0" dirty="0" err="1" smtClean="0">
                <a:solidFill>
                  <a:srgbClr val="0070C0"/>
                </a:solidFill>
              </a:rPr>
              <a:t>Weakness</a:t>
            </a:r>
            <a:endParaRPr lang="es-ES" altLang="en-US" sz="4000" b="0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1474196"/>
            <a:ext cx="8610600" cy="3859804"/>
          </a:xfrm>
        </p:spPr>
        <p:txBody>
          <a:bodyPr/>
          <a:lstStyle/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Failure to show the success of all major </a:t>
            </a:r>
            <a:r>
              <a:rPr lang="en-GB" altLang="en-US" sz="3600" dirty="0" err="1" smtClean="0"/>
              <a:t>cfs</a:t>
            </a:r>
            <a:endParaRPr lang="en-GB" altLang="en-US" sz="3600" dirty="0" smtClean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Failure to demonstrate that changes are persistent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Failure to document internally their code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31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8600" y="1295400"/>
            <a:ext cx="8610600" cy="3303628"/>
          </a:xfrm>
        </p:spPr>
        <p:txBody>
          <a:bodyPr/>
          <a:lstStyle/>
          <a:p>
            <a:pPr marL="1481796" lvl="1" indent="-569922">
              <a:tabLst>
                <a:tab pos="1478632" algn="l"/>
                <a:tab pos="1632194" algn="l"/>
                <a:tab pos="2080218" algn="l"/>
                <a:tab pos="2528234" algn="l"/>
                <a:tab pos="2976253" algn="l"/>
                <a:tab pos="3424281" algn="l"/>
                <a:tab pos="3872299" algn="l"/>
                <a:tab pos="4320325" algn="l"/>
                <a:tab pos="4768345" algn="l"/>
                <a:tab pos="5216370" algn="l"/>
                <a:tab pos="5664390" algn="l"/>
                <a:tab pos="6112408" algn="l"/>
                <a:tab pos="6560432" algn="l"/>
                <a:tab pos="7008456" algn="l"/>
                <a:tab pos="7456474" algn="l"/>
                <a:tab pos="7904499" algn="l"/>
                <a:tab pos="8352519" algn="l"/>
                <a:tab pos="8800542" algn="l"/>
                <a:tab pos="9248562" algn="l"/>
                <a:tab pos="9696584" algn="l"/>
                <a:tab pos="10144604" algn="l"/>
              </a:tabLst>
            </a:pPr>
            <a:r>
              <a:rPr lang="en-GB" altLang="en-US" sz="3600" dirty="0"/>
              <a:t>fully evaluated with respect to A </a:t>
            </a:r>
            <a:r>
              <a:rPr lang="en-GB" altLang="en-US" sz="3600" u="sng" dirty="0"/>
              <a:t>and client</a:t>
            </a:r>
          </a:p>
          <a:p>
            <a:pPr marL="911874" lvl="1" indent="0">
              <a:buNone/>
              <a:tabLst>
                <a:tab pos="1478632" algn="l"/>
                <a:tab pos="1632194" algn="l"/>
                <a:tab pos="2080218" algn="l"/>
                <a:tab pos="2528234" algn="l"/>
                <a:tab pos="2976253" algn="l"/>
                <a:tab pos="3424281" algn="l"/>
                <a:tab pos="3872299" algn="l"/>
                <a:tab pos="4320325" algn="l"/>
                <a:tab pos="4768345" algn="l"/>
                <a:tab pos="5216370" algn="l"/>
                <a:tab pos="5664390" algn="l"/>
                <a:tab pos="6112408" algn="l"/>
                <a:tab pos="6560432" algn="l"/>
                <a:tab pos="7008456" algn="l"/>
                <a:tab pos="7456474" algn="l"/>
                <a:tab pos="7904499" algn="l"/>
                <a:tab pos="8352519" algn="l"/>
                <a:tab pos="8800542" algn="l"/>
                <a:tab pos="9248562" algn="l"/>
                <a:tab pos="9696584" algn="l"/>
                <a:tab pos="10144604" algn="l"/>
              </a:tabLst>
            </a:pPr>
            <a:r>
              <a:rPr lang="en-GB" altLang="en-US" sz="2000" dirty="0"/>
              <a:t>        - detailed feedback from client / adviser can be in a referenced</a:t>
            </a:r>
          </a:p>
          <a:p>
            <a:pPr marL="911874" lvl="1" indent="0">
              <a:buNone/>
              <a:tabLst>
                <a:tab pos="1478632" algn="l"/>
                <a:tab pos="1632194" algn="l"/>
                <a:tab pos="2080218" algn="l"/>
                <a:tab pos="2528234" algn="l"/>
                <a:tab pos="2976253" algn="l"/>
                <a:tab pos="3424281" algn="l"/>
                <a:tab pos="3872299" algn="l"/>
                <a:tab pos="4320325" algn="l"/>
                <a:tab pos="4768345" algn="l"/>
                <a:tab pos="5216370" algn="l"/>
                <a:tab pos="5664390" algn="l"/>
                <a:tab pos="6112408" algn="l"/>
                <a:tab pos="6560432" algn="l"/>
                <a:tab pos="7008456" algn="l"/>
                <a:tab pos="7456474" algn="l"/>
                <a:tab pos="7904499" algn="l"/>
                <a:tab pos="8352519" algn="l"/>
                <a:tab pos="8800542" algn="l"/>
                <a:tab pos="9248562" algn="l"/>
                <a:tab pos="9696584" algn="l"/>
                <a:tab pos="10144604" algn="l"/>
              </a:tabLst>
            </a:pPr>
            <a:r>
              <a:rPr lang="en-GB" altLang="en-US" sz="2000" dirty="0"/>
              <a:t>          appendix</a:t>
            </a:r>
          </a:p>
          <a:p>
            <a:pPr marL="1481796" lvl="1" indent="-569922">
              <a:tabLst>
                <a:tab pos="1478632" algn="l"/>
                <a:tab pos="1632194" algn="l"/>
                <a:tab pos="2080218" algn="l"/>
                <a:tab pos="2528234" algn="l"/>
                <a:tab pos="2976253" algn="l"/>
                <a:tab pos="3424281" algn="l"/>
                <a:tab pos="3872299" algn="l"/>
                <a:tab pos="4320325" algn="l"/>
                <a:tab pos="4768345" algn="l"/>
                <a:tab pos="5216370" algn="l"/>
                <a:tab pos="5664390" algn="l"/>
                <a:tab pos="6112408" algn="l"/>
                <a:tab pos="6560432" algn="l"/>
                <a:tab pos="7008456" algn="l"/>
                <a:tab pos="7456474" algn="l"/>
                <a:tab pos="7904499" algn="l"/>
                <a:tab pos="8352519" algn="l"/>
                <a:tab pos="8800542" algn="l"/>
                <a:tab pos="9248562" algn="l"/>
                <a:tab pos="9696584" algn="l"/>
                <a:tab pos="10144604" algn="l"/>
              </a:tabLst>
            </a:pPr>
            <a:r>
              <a:rPr lang="en-GB" altLang="en-US" sz="3600" dirty="0"/>
              <a:t>valid recommendations</a:t>
            </a:r>
            <a:endParaRPr lang="en-GB" altLang="en-US" sz="2000" dirty="0"/>
          </a:p>
          <a:p>
            <a:pPr marL="911874" lvl="1" indent="0">
              <a:buNone/>
              <a:tabLst>
                <a:tab pos="1478632" algn="l"/>
                <a:tab pos="1632194" algn="l"/>
                <a:tab pos="2080218" algn="l"/>
                <a:tab pos="2528234" algn="l"/>
                <a:tab pos="2976253" algn="l"/>
                <a:tab pos="3424281" algn="l"/>
                <a:tab pos="3872299" algn="l"/>
                <a:tab pos="4320325" algn="l"/>
                <a:tab pos="4768345" algn="l"/>
                <a:tab pos="5216370" algn="l"/>
                <a:tab pos="5664390" algn="l"/>
                <a:tab pos="6112408" algn="l"/>
                <a:tab pos="6560432" algn="l"/>
                <a:tab pos="7008456" algn="l"/>
                <a:tab pos="7456474" algn="l"/>
                <a:tab pos="7904499" algn="l"/>
                <a:tab pos="8352519" algn="l"/>
                <a:tab pos="8800542" algn="l"/>
                <a:tab pos="9248562" algn="l"/>
                <a:tab pos="9696584" algn="l"/>
                <a:tab pos="10144604" algn="l"/>
              </a:tabLst>
            </a:pPr>
            <a:r>
              <a:rPr lang="en-GB" altLang="en-US" sz="2000" dirty="0"/>
              <a:t>         - at least 2 </a:t>
            </a:r>
          </a:p>
          <a:p>
            <a:pPr marL="911874" lvl="1" indent="0">
              <a:buNone/>
              <a:tabLst>
                <a:tab pos="1478632" algn="l"/>
                <a:tab pos="1632194" algn="l"/>
                <a:tab pos="2080218" algn="l"/>
                <a:tab pos="2528234" algn="l"/>
                <a:tab pos="2976253" algn="l"/>
                <a:tab pos="3424281" algn="l"/>
                <a:tab pos="3872299" algn="l"/>
                <a:tab pos="4320325" algn="l"/>
                <a:tab pos="4768345" algn="l"/>
                <a:tab pos="5216370" algn="l"/>
                <a:tab pos="5664390" algn="l"/>
                <a:tab pos="6112408" algn="l"/>
                <a:tab pos="6560432" algn="l"/>
                <a:tab pos="7008456" algn="l"/>
                <a:tab pos="7456474" algn="l"/>
                <a:tab pos="7904499" algn="l"/>
                <a:tab pos="8352519" algn="l"/>
                <a:tab pos="8800542" algn="l"/>
                <a:tab pos="9248562" algn="l"/>
                <a:tab pos="9696584" algn="l"/>
                <a:tab pos="10144604" algn="l"/>
              </a:tabLst>
            </a:pPr>
            <a:r>
              <a:rPr lang="en-GB" altLang="en-US" sz="2000" dirty="0"/>
              <a:t>         - not to include failed original success criteri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67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</a:t>
            </a:r>
            <a:r>
              <a:rPr lang="es-ES" altLang="en-US" sz="4000" b="0" dirty="0" smtClean="0">
                <a:solidFill>
                  <a:srgbClr val="0070C0"/>
                </a:solidFill>
              </a:rPr>
              <a:t>E - </a:t>
            </a:r>
            <a:r>
              <a:rPr lang="es-ES" altLang="en-US" sz="4000" b="0" dirty="0" err="1" smtClean="0">
                <a:solidFill>
                  <a:srgbClr val="0070C0"/>
                </a:solidFill>
              </a:rPr>
              <a:t>Weakness</a:t>
            </a:r>
            <a:endParaRPr lang="es-ES" altLang="en-US" sz="4000" b="0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1474196"/>
            <a:ext cx="8382000" cy="1573804"/>
          </a:xfrm>
        </p:spPr>
        <p:txBody>
          <a:bodyPr/>
          <a:lstStyle/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Failure to include feedback of client in the evaluation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Note: in both A and E implicit reference should be made to any appendices that include detail of any interaction with the client</a:t>
            </a:r>
          </a:p>
          <a:p>
            <a:pPr marL="911874" lvl="1" indent="0">
              <a:buNone/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78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3200" b="0" dirty="0">
                <a:solidFill>
                  <a:srgbClr val="0070C0"/>
                </a:solidFill>
              </a:rPr>
              <a:t>IA </a:t>
            </a:r>
            <a:r>
              <a:rPr lang="es-ES" altLang="en-US" sz="3200" b="0" dirty="0" err="1">
                <a:solidFill>
                  <a:srgbClr val="0070C0"/>
                </a:solidFill>
              </a:rPr>
              <a:t>Overview</a:t>
            </a:r>
            <a:endParaRPr lang="es-ES" altLang="en-US" sz="3200" b="0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59162" y="2092237"/>
            <a:ext cx="7989277" cy="3303628"/>
          </a:xfrm>
        </p:spPr>
        <p:txBody>
          <a:bodyPr/>
          <a:lstStyle/>
          <a:p>
            <a:pPr marL="460687" indent="-455936">
              <a:buClr>
                <a:srgbClr val="FFFFFF"/>
              </a:buClr>
              <a:tabLst>
                <a:tab pos="341953" algn="l"/>
                <a:tab pos="907125" algn="l"/>
                <a:tab pos="1819003" algn="l"/>
                <a:tab pos="2730876" algn="l"/>
                <a:tab pos="3642756" algn="l"/>
                <a:tab pos="4554620" algn="l"/>
                <a:tab pos="5466498" algn="l"/>
                <a:tab pos="6378374" algn="l"/>
                <a:tab pos="7290251" algn="l"/>
                <a:tab pos="8202128" algn="l"/>
                <a:tab pos="9114005" algn="l"/>
                <a:tab pos="10025871" algn="l"/>
                <a:tab pos="10301339" algn="l"/>
                <a:tab pos="10749359" algn="l"/>
                <a:tab pos="10750942" algn="l"/>
              </a:tabLst>
            </a:pPr>
            <a:r>
              <a:rPr lang="es-ES" altLang="en-US" dirty="0" err="1"/>
              <a:t>Provides</a:t>
            </a:r>
            <a:r>
              <a:rPr lang="es-ES" altLang="en-US" dirty="0"/>
              <a:t> </a:t>
            </a:r>
            <a:r>
              <a:rPr lang="es-ES" altLang="en-US" dirty="0" err="1"/>
              <a:t>an</a:t>
            </a:r>
            <a:r>
              <a:rPr lang="es-ES" altLang="en-US" dirty="0"/>
              <a:t> original </a:t>
            </a:r>
            <a:r>
              <a:rPr lang="es-ES" altLang="en-US" dirty="0" err="1"/>
              <a:t>solution</a:t>
            </a:r>
            <a:r>
              <a:rPr lang="es-ES" altLang="en-US" dirty="0"/>
              <a:t> </a:t>
            </a:r>
            <a:r>
              <a:rPr lang="es-ES" altLang="en-US" dirty="0" err="1"/>
              <a:t>or</a:t>
            </a:r>
            <a:r>
              <a:rPr lang="es-ES" altLang="en-US" dirty="0"/>
              <a:t> </a:t>
            </a:r>
            <a:r>
              <a:rPr lang="es-ES" altLang="en-US" dirty="0" err="1"/>
              <a:t>modifies</a:t>
            </a:r>
            <a:r>
              <a:rPr lang="es-ES" altLang="en-US" dirty="0"/>
              <a:t> </a:t>
            </a:r>
            <a:r>
              <a:rPr lang="es-ES" altLang="en-US" dirty="0" err="1"/>
              <a:t>an</a:t>
            </a:r>
            <a:r>
              <a:rPr lang="es-ES" altLang="en-US" dirty="0"/>
              <a:t> </a:t>
            </a:r>
            <a:r>
              <a:rPr lang="es-ES" altLang="en-US" dirty="0" err="1"/>
              <a:t>existing</a:t>
            </a:r>
            <a:r>
              <a:rPr lang="es-ES" altLang="en-US" dirty="0"/>
              <a:t> </a:t>
            </a:r>
            <a:r>
              <a:rPr lang="es-ES" altLang="en-US" dirty="0" err="1"/>
              <a:t>one</a:t>
            </a:r>
            <a:r>
              <a:rPr lang="es-ES" altLang="en-US" dirty="0"/>
              <a:t> </a:t>
            </a:r>
            <a:r>
              <a:rPr lang="es-ES" altLang="en-US" dirty="0" err="1"/>
              <a:t>for</a:t>
            </a:r>
            <a:r>
              <a:rPr lang="es-ES" altLang="en-US" dirty="0"/>
              <a:t> a </a:t>
            </a:r>
            <a:r>
              <a:rPr lang="es-ES" altLang="en-US" dirty="0" err="1"/>
              <a:t>client</a:t>
            </a:r>
            <a:endParaRPr lang="es-ES" altLang="en-US" dirty="0"/>
          </a:p>
          <a:p>
            <a:pPr marL="460687" indent="-455936">
              <a:buClr>
                <a:srgbClr val="FFFFFF"/>
              </a:buClr>
              <a:tabLst>
                <a:tab pos="341953" algn="l"/>
                <a:tab pos="907125" algn="l"/>
                <a:tab pos="1819003" algn="l"/>
                <a:tab pos="2730876" algn="l"/>
                <a:tab pos="3642756" algn="l"/>
                <a:tab pos="4554620" algn="l"/>
                <a:tab pos="5466498" algn="l"/>
                <a:tab pos="6378374" algn="l"/>
                <a:tab pos="7290251" algn="l"/>
                <a:tab pos="8202128" algn="l"/>
                <a:tab pos="9114005" algn="l"/>
                <a:tab pos="10025871" algn="l"/>
                <a:tab pos="10301339" algn="l"/>
                <a:tab pos="10749359" algn="l"/>
                <a:tab pos="10750942" algn="l"/>
              </a:tabLst>
            </a:pPr>
            <a:r>
              <a:rPr lang="es-ES" altLang="en-US" dirty="0" err="1"/>
              <a:t>Requirements</a:t>
            </a:r>
            <a:r>
              <a:rPr lang="es-ES" altLang="en-US" dirty="0"/>
              <a:t> </a:t>
            </a:r>
            <a:r>
              <a:rPr lang="es-ES" altLang="en-US" dirty="0" err="1"/>
              <a:t>the</a:t>
            </a:r>
            <a:r>
              <a:rPr lang="es-ES" altLang="en-US" dirty="0"/>
              <a:t> </a:t>
            </a:r>
            <a:r>
              <a:rPr lang="es-ES" altLang="en-US" dirty="0" err="1"/>
              <a:t>same</a:t>
            </a:r>
            <a:r>
              <a:rPr lang="es-ES" altLang="en-US" dirty="0"/>
              <a:t> </a:t>
            </a:r>
            <a:r>
              <a:rPr lang="es-ES" altLang="en-US" dirty="0" err="1"/>
              <a:t>for</a:t>
            </a:r>
            <a:r>
              <a:rPr lang="es-ES" altLang="en-US" dirty="0"/>
              <a:t> SL and HL</a:t>
            </a:r>
          </a:p>
          <a:p>
            <a:pPr marL="460687" indent="-455936">
              <a:buClr>
                <a:srgbClr val="FFFFFF"/>
              </a:buClr>
              <a:tabLst>
                <a:tab pos="341953" algn="l"/>
                <a:tab pos="907125" algn="l"/>
                <a:tab pos="1819003" algn="l"/>
                <a:tab pos="2730876" algn="l"/>
                <a:tab pos="3642756" algn="l"/>
                <a:tab pos="4554620" algn="l"/>
                <a:tab pos="5466498" algn="l"/>
                <a:tab pos="6378374" algn="l"/>
                <a:tab pos="7290251" algn="l"/>
                <a:tab pos="8202128" algn="l"/>
                <a:tab pos="9114005" algn="l"/>
                <a:tab pos="10025871" algn="l"/>
                <a:tab pos="10301339" algn="l"/>
                <a:tab pos="10749359" algn="l"/>
                <a:tab pos="10750942" algn="l"/>
              </a:tabLst>
            </a:pPr>
            <a:r>
              <a:rPr lang="es-ES" altLang="en-US" dirty="0"/>
              <a:t>No </a:t>
            </a:r>
            <a:r>
              <a:rPr lang="es-ES" altLang="en-US" dirty="0" err="1"/>
              <a:t>mastery</a:t>
            </a:r>
            <a:r>
              <a:rPr lang="es-ES" altLang="en-US" dirty="0"/>
              <a:t> </a:t>
            </a:r>
            <a:r>
              <a:rPr lang="es-ES" altLang="en-US" dirty="0" err="1"/>
              <a:t>aspects</a:t>
            </a:r>
            <a:r>
              <a:rPr lang="es-ES" altLang="en-US" dirty="0"/>
              <a:t> (as in </a:t>
            </a:r>
            <a:r>
              <a:rPr lang="es-ES" altLang="en-US" dirty="0" err="1"/>
              <a:t>old</a:t>
            </a:r>
            <a:r>
              <a:rPr lang="es-ES" altLang="en-US" dirty="0"/>
              <a:t> </a:t>
            </a:r>
            <a:r>
              <a:rPr lang="es-ES" altLang="en-US" dirty="0" err="1"/>
              <a:t>course</a:t>
            </a:r>
            <a:r>
              <a:rPr lang="es-ES" altLang="en-US" dirty="0"/>
              <a:t>)</a:t>
            </a:r>
          </a:p>
          <a:p>
            <a:pPr marL="460687" indent="-455936">
              <a:buClr>
                <a:srgbClr val="FFFFFF"/>
              </a:buClr>
              <a:tabLst>
                <a:tab pos="341953" algn="l"/>
                <a:tab pos="907125" algn="l"/>
                <a:tab pos="1819003" algn="l"/>
                <a:tab pos="2730876" algn="l"/>
                <a:tab pos="3642756" algn="l"/>
                <a:tab pos="4554620" algn="l"/>
                <a:tab pos="5466498" algn="l"/>
                <a:tab pos="6378374" algn="l"/>
                <a:tab pos="7290251" algn="l"/>
                <a:tab pos="8202128" algn="l"/>
                <a:tab pos="9114005" algn="l"/>
                <a:tab pos="10025871" algn="l"/>
                <a:tab pos="10301339" algn="l"/>
                <a:tab pos="10749359" algn="l"/>
                <a:tab pos="10750942" algn="l"/>
              </a:tabLst>
            </a:pPr>
            <a:r>
              <a:rPr lang="es-ES" altLang="en-US" dirty="0"/>
              <a:t>2000 </a:t>
            </a:r>
            <a:r>
              <a:rPr lang="es-ES" altLang="en-US" dirty="0" err="1"/>
              <a:t>word</a:t>
            </a:r>
            <a:r>
              <a:rPr lang="es-ES" altLang="en-US" dirty="0"/>
              <a:t> </a:t>
            </a:r>
            <a:r>
              <a:rPr lang="es-ES" altLang="en-US" dirty="0" err="1"/>
              <a:t>limit</a:t>
            </a:r>
            <a:r>
              <a:rPr lang="es-ES" altLang="en-US" dirty="0"/>
              <a:t> (extended </a:t>
            </a:r>
            <a:r>
              <a:rPr lang="es-ES" altLang="en-US" dirty="0" err="1"/>
              <a:t>writing</a:t>
            </a:r>
            <a:r>
              <a:rPr lang="es-ES" altLang="en-US" dirty="0" smtClean="0"/>
              <a:t>)</a:t>
            </a:r>
          </a:p>
          <a:p>
            <a:pPr marL="460687" indent="-455936">
              <a:buClr>
                <a:srgbClr val="FFFFFF"/>
              </a:buClr>
              <a:buFont typeface="Courier New" panose="02070309020205020404" pitchFamily="49" charset="0"/>
              <a:buChar char="o"/>
              <a:tabLst>
                <a:tab pos="341953" algn="l"/>
                <a:tab pos="907125" algn="l"/>
                <a:tab pos="1819003" algn="l"/>
                <a:tab pos="2730876" algn="l"/>
                <a:tab pos="3642756" algn="l"/>
                <a:tab pos="4554620" algn="l"/>
                <a:tab pos="5466498" algn="l"/>
                <a:tab pos="6378374" algn="l"/>
                <a:tab pos="7290251" algn="l"/>
                <a:tab pos="8202128" algn="l"/>
                <a:tab pos="9114005" algn="l"/>
                <a:tab pos="10025871" algn="l"/>
                <a:tab pos="10301339" algn="l"/>
                <a:tab pos="10749359" algn="l"/>
                <a:tab pos="10750942" algn="l"/>
              </a:tabLst>
            </a:pPr>
            <a:r>
              <a:rPr lang="es-ES" altLang="en-US" sz="2000" dirty="0"/>
              <a:t>     - </a:t>
            </a:r>
            <a:r>
              <a:rPr lang="es-ES" altLang="en-US" sz="2000" dirty="0" err="1"/>
              <a:t>Does</a:t>
            </a:r>
            <a:r>
              <a:rPr lang="es-ES" altLang="en-US" sz="2000" dirty="0"/>
              <a:t> </a:t>
            </a:r>
            <a:r>
              <a:rPr lang="es-ES" altLang="en-US" sz="2000" dirty="0" err="1"/>
              <a:t>not</a:t>
            </a:r>
            <a:r>
              <a:rPr lang="es-ES" altLang="en-US" sz="2000" dirty="0"/>
              <a:t> </a:t>
            </a:r>
            <a:r>
              <a:rPr lang="es-ES" altLang="en-US" sz="2000" dirty="0" err="1"/>
              <a:t>include</a:t>
            </a:r>
            <a:r>
              <a:rPr lang="es-ES" altLang="en-US" sz="2000" dirty="0"/>
              <a:t> </a:t>
            </a:r>
            <a:r>
              <a:rPr lang="es-ES" altLang="en-US" sz="2000" dirty="0" err="1"/>
              <a:t>bullet</a:t>
            </a:r>
            <a:r>
              <a:rPr lang="es-ES" altLang="en-US" sz="2000" dirty="0"/>
              <a:t> </a:t>
            </a:r>
            <a:r>
              <a:rPr lang="es-ES" altLang="en-US" sz="2000" dirty="0" err="1"/>
              <a:t>points</a:t>
            </a:r>
            <a:r>
              <a:rPr lang="es-ES" altLang="en-US" sz="2000" dirty="0"/>
              <a:t>/</a:t>
            </a:r>
            <a:r>
              <a:rPr lang="es-ES" altLang="en-US" sz="2000" dirty="0" err="1"/>
              <a:t>tables</a:t>
            </a:r>
            <a:r>
              <a:rPr lang="es-ES" altLang="en-US" sz="2000" dirty="0"/>
              <a:t>/</a:t>
            </a:r>
            <a:r>
              <a:rPr lang="es-ES" altLang="en-US" sz="2000" dirty="0" err="1"/>
              <a:t>algs</a:t>
            </a:r>
            <a:r>
              <a:rPr lang="es-ES" altLang="en-US" sz="2000" dirty="0"/>
              <a:t>/</a:t>
            </a:r>
            <a:r>
              <a:rPr lang="es-ES" altLang="en-US" sz="2000" dirty="0" err="1"/>
              <a:t>flowcharts</a:t>
            </a:r>
            <a:r>
              <a:rPr lang="es-ES" altLang="en-US" sz="2000" dirty="0"/>
              <a:t>/</a:t>
            </a:r>
            <a:r>
              <a:rPr lang="es-ES" altLang="en-US" sz="2000" dirty="0" err="1"/>
              <a:t>code</a:t>
            </a:r>
            <a:endParaRPr lang="es-ES" altLang="en-US" sz="2000" dirty="0"/>
          </a:p>
          <a:p>
            <a:pPr marL="460687" indent="-455936">
              <a:buClr>
                <a:srgbClr val="FFFFFF"/>
              </a:buClr>
              <a:tabLst>
                <a:tab pos="341953" algn="l"/>
                <a:tab pos="907125" algn="l"/>
                <a:tab pos="1819003" algn="l"/>
                <a:tab pos="2730876" algn="l"/>
                <a:tab pos="3642756" algn="l"/>
                <a:tab pos="4554620" algn="l"/>
                <a:tab pos="5466498" algn="l"/>
                <a:tab pos="6378374" algn="l"/>
                <a:tab pos="7290251" algn="l"/>
                <a:tab pos="8202128" algn="l"/>
                <a:tab pos="9114005" algn="l"/>
                <a:tab pos="10025871" algn="l"/>
                <a:tab pos="10301339" algn="l"/>
                <a:tab pos="10749359" algn="l"/>
                <a:tab pos="10750942" algn="l"/>
              </a:tabLst>
            </a:pPr>
            <a:r>
              <a:rPr lang="es-ES" altLang="en-US" dirty="0"/>
              <a:t>IA </a:t>
            </a:r>
            <a:r>
              <a:rPr lang="es-ES" altLang="en-US" dirty="0" err="1"/>
              <a:t>is</a:t>
            </a:r>
            <a:r>
              <a:rPr lang="es-ES" altLang="en-US" dirty="0"/>
              <a:t> </a:t>
            </a:r>
            <a:r>
              <a:rPr lang="es-ES" altLang="en-US" dirty="0" err="1"/>
              <a:t>submitted</a:t>
            </a:r>
            <a:r>
              <a:rPr lang="es-ES" altLang="en-US" dirty="0"/>
              <a:t> </a:t>
            </a:r>
            <a:r>
              <a:rPr lang="es-ES" altLang="en-US" dirty="0" err="1"/>
              <a:t>electronically</a:t>
            </a:r>
            <a:r>
              <a:rPr lang="es-ES" altLang="en-US" dirty="0"/>
              <a:t>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408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1474196"/>
            <a:ext cx="8839199" cy="4029163"/>
          </a:xfrm>
        </p:spPr>
        <p:txBody>
          <a:bodyPr/>
          <a:lstStyle/>
          <a:p>
            <a:pPr marL="1481796" lvl="1" indent="-569922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/>
              <a:t>scenario described</a:t>
            </a:r>
          </a:p>
          <a:p>
            <a:pPr marL="911874" lvl="1" indent="0">
              <a:buNone/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2000" dirty="0"/>
              <a:t>        the problem, not the solution</a:t>
            </a:r>
          </a:p>
          <a:p>
            <a:pPr marL="1481796" lvl="1" indent="-569922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/>
              <a:t>identified client and adviser</a:t>
            </a:r>
          </a:p>
          <a:p>
            <a:pPr marL="1481796" lvl="1" indent="-569922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/>
              <a:t>evidence of consultation</a:t>
            </a:r>
          </a:p>
          <a:p>
            <a:pPr marL="911874" lvl="1" indent="0">
              <a:buNone/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2000" dirty="0"/>
              <a:t>        explicit evidence and a </a:t>
            </a:r>
            <a:r>
              <a:rPr lang="en-GB" altLang="en-US" sz="2000" b="1" dirty="0"/>
              <a:t>reference</a:t>
            </a:r>
            <a:r>
              <a:rPr lang="en-GB" altLang="en-US" sz="2000" dirty="0"/>
              <a:t> to more detail in an appendix</a:t>
            </a:r>
            <a:endParaRPr lang="en-GB" altLang="en-US" sz="3600" dirty="0"/>
          </a:p>
          <a:p>
            <a:pPr marL="1481796" lvl="1" indent="-569922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/>
              <a:t>choice of product justified</a:t>
            </a:r>
            <a:endParaRPr lang="en-GB" altLang="en-US" sz="2000" dirty="0"/>
          </a:p>
          <a:p>
            <a:pPr marL="911874" lvl="1" indent="0">
              <a:buNone/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2000" dirty="0"/>
              <a:t>         this includes the approach taken and the choice of software</a:t>
            </a:r>
          </a:p>
          <a:p>
            <a:pPr marL="1481796" lvl="1" indent="-569922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/>
              <a:t>criteria for success</a:t>
            </a:r>
          </a:p>
          <a:p>
            <a:pPr marL="911874" lvl="1" indent="0">
              <a:buNone/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2000" dirty="0"/>
              <a:t>         must be specific and testable (used as basis for test plan in B)</a:t>
            </a:r>
          </a:p>
          <a:p>
            <a:pPr marL="1481796" lvl="1" indent="-569922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5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</a:t>
            </a:r>
            <a:r>
              <a:rPr lang="es-ES" altLang="en-US" sz="4000" b="0" dirty="0" smtClean="0">
                <a:solidFill>
                  <a:srgbClr val="0070C0"/>
                </a:solidFill>
              </a:rPr>
              <a:t>A - </a:t>
            </a:r>
            <a:r>
              <a:rPr lang="es-ES" altLang="en-US" sz="4000" b="0" dirty="0" err="1" smtClean="0">
                <a:solidFill>
                  <a:srgbClr val="0070C0"/>
                </a:solidFill>
              </a:rPr>
              <a:t>Weakness</a:t>
            </a:r>
            <a:endParaRPr lang="es-ES" altLang="en-US" sz="4000" b="0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1474196"/>
            <a:ext cx="8610600" cy="4545604"/>
          </a:xfrm>
        </p:spPr>
        <p:txBody>
          <a:bodyPr/>
          <a:lstStyle/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Failure to document the involvement of a real client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Failure to link the rationale (justification of </a:t>
            </a:r>
            <a:r>
              <a:rPr lang="en-GB" altLang="en-US" sz="3600" dirty="0" err="1" smtClean="0"/>
              <a:t>thr</a:t>
            </a:r>
            <a:r>
              <a:rPr lang="en-GB" altLang="en-US" sz="3600" dirty="0" smtClean="0"/>
              <a:t> choice of approach and the software) to the actual problem)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75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B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59148" y="2092241"/>
            <a:ext cx="8103498" cy="3885230"/>
          </a:xfrm>
        </p:spPr>
        <p:txBody>
          <a:bodyPr/>
          <a:lstStyle/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record of tasks</a:t>
            </a:r>
            <a:endParaRPr lang="en-GB" altLang="en-US" sz="2000" dirty="0"/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2000" dirty="0"/>
              <a:t>         shows all stages (with specified form from forms.zip)</a:t>
            </a:r>
          </a:p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design overview</a:t>
            </a:r>
            <a:r>
              <a:rPr lang="en-GB" altLang="en-US" sz="2000" dirty="0"/>
              <a:t> </a:t>
            </a:r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2000" dirty="0"/>
              <a:t>         which clearly shows how the product was developed </a:t>
            </a:r>
          </a:p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outline test plan</a:t>
            </a:r>
            <a:endParaRPr lang="en-GB" altLang="en-US" sz="2000" dirty="0"/>
          </a:p>
          <a:p>
            <a:pPr marL="911874" lvl="1" indent="0">
              <a:buNone/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2000" dirty="0"/>
              <a:t>         criteria tested / details of test / expected outcom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992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B</a:t>
            </a:r>
            <a:r>
              <a:rPr lang="es-ES" altLang="en-US" sz="4000" b="0" dirty="0" smtClean="0">
                <a:solidFill>
                  <a:srgbClr val="0070C0"/>
                </a:solidFill>
              </a:rPr>
              <a:t> - </a:t>
            </a:r>
            <a:r>
              <a:rPr lang="es-ES" altLang="en-US" sz="4000" b="0" dirty="0" err="1" smtClean="0">
                <a:solidFill>
                  <a:srgbClr val="0070C0"/>
                </a:solidFill>
              </a:rPr>
              <a:t>Weakness</a:t>
            </a:r>
            <a:endParaRPr lang="es-ES" altLang="en-US" sz="4000" b="0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1474196"/>
            <a:ext cx="8610600" cy="4545604"/>
          </a:xfrm>
        </p:spPr>
        <p:txBody>
          <a:bodyPr/>
          <a:lstStyle/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Failure to include descriptions of all data structures (including files)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Failure to update </a:t>
            </a:r>
            <a:r>
              <a:rPr lang="en-GB" altLang="en-US" sz="3600" dirty="0" err="1" smtClean="0"/>
              <a:t>RoT</a:t>
            </a:r>
            <a:r>
              <a:rPr lang="en-GB" altLang="en-US" sz="3600" dirty="0" smtClean="0"/>
              <a:t> in real time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smtClean="0"/>
              <a:t>Failure </a:t>
            </a:r>
            <a:r>
              <a:rPr lang="en-GB" altLang="en-US" sz="3600" dirty="0" smtClean="0"/>
              <a:t>to match test plan with </a:t>
            </a:r>
            <a:r>
              <a:rPr lang="en-GB" altLang="en-US" sz="3600" dirty="0" err="1" smtClean="0"/>
              <a:t>cfs</a:t>
            </a:r>
            <a:endParaRPr lang="en-GB" altLang="en-US" sz="3600" dirty="0" smtClean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6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524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1066800"/>
            <a:ext cx="8001000" cy="4953000"/>
          </a:xfrm>
        </p:spPr>
        <p:txBody>
          <a:bodyPr/>
          <a:lstStyle/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high level of complexity/ingenuity</a:t>
            </a:r>
          </a:p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appropriate use of tools</a:t>
            </a:r>
          </a:p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use of tools justified</a:t>
            </a:r>
          </a:p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u="sng" dirty="0"/>
              <a:t>the most important techniques explained</a:t>
            </a:r>
          </a:p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evidence of algorithmic thinking</a:t>
            </a:r>
          </a:p>
          <a:p>
            <a:pPr marL="1481796" lvl="1" indent="-569922">
              <a:tabLst>
                <a:tab pos="338786" algn="l"/>
                <a:tab pos="443272" algn="l"/>
                <a:tab pos="891295" algn="l"/>
                <a:tab pos="1339315" algn="l"/>
                <a:tab pos="1787338" algn="l"/>
                <a:tab pos="2235361" algn="l"/>
                <a:tab pos="2683383" algn="l"/>
                <a:tab pos="3131403" algn="l"/>
                <a:tab pos="3579428" algn="l"/>
                <a:tab pos="4027445" algn="l"/>
                <a:tab pos="4475470" algn="l"/>
                <a:tab pos="4923490" algn="l"/>
                <a:tab pos="5371513" algn="l"/>
                <a:tab pos="5819533" algn="l"/>
                <a:tab pos="6267557" algn="l"/>
                <a:tab pos="6715576" algn="l"/>
                <a:tab pos="7163603" algn="l"/>
                <a:tab pos="7611622" algn="l"/>
                <a:tab pos="8059645" algn="l"/>
                <a:tab pos="8507664" algn="l"/>
                <a:tab pos="8955684" algn="l"/>
              </a:tabLst>
            </a:pPr>
            <a:r>
              <a:rPr lang="en-GB" altLang="en-US" sz="3600" dirty="0"/>
              <a:t>sources of imported code identified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53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</a:t>
            </a:r>
            <a:r>
              <a:rPr lang="es-ES" altLang="en-US" sz="4000" b="0" dirty="0" smtClean="0">
                <a:solidFill>
                  <a:srgbClr val="0070C0"/>
                </a:solidFill>
              </a:rPr>
              <a:t>C – </a:t>
            </a:r>
            <a:r>
              <a:rPr lang="es-ES" altLang="en-US" sz="4000" b="0" dirty="0" err="1" smtClean="0">
                <a:solidFill>
                  <a:srgbClr val="0070C0"/>
                </a:solidFill>
              </a:rPr>
              <a:t>Complexity</a:t>
            </a:r>
            <a:r>
              <a:rPr lang="es-ES" altLang="en-US" sz="4000" b="0" dirty="0" smtClean="0">
                <a:solidFill>
                  <a:srgbClr val="0070C0"/>
                </a:solidFill>
              </a:rPr>
              <a:t>???</a:t>
            </a:r>
            <a:endParaRPr lang="es-ES" altLang="en-US" sz="4000" b="0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1474196"/>
            <a:ext cx="8610600" cy="4088404"/>
          </a:xfrm>
        </p:spPr>
        <p:txBody>
          <a:bodyPr/>
          <a:lstStyle/>
          <a:p>
            <a:pPr marL="911874" lvl="1" indent="0">
              <a:buNone/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u="sng" dirty="0" smtClean="0"/>
              <a:t>Example of moderate complexity</a:t>
            </a:r>
          </a:p>
          <a:p>
            <a:pPr marL="911874" lvl="1" indent="0">
              <a:buNone/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Java / </a:t>
            </a:r>
            <a:r>
              <a:rPr lang="en-GB" altLang="en-US" sz="3600" dirty="0" err="1" smtClean="0"/>
              <a:t>php</a:t>
            </a:r>
            <a:r>
              <a:rPr lang="en-GB" altLang="en-US" sz="3600" dirty="0" smtClean="0"/>
              <a:t> with text files / </a:t>
            </a:r>
            <a:r>
              <a:rPr lang="en-GB" altLang="en-US" sz="3600" dirty="0" err="1" smtClean="0"/>
              <a:t>MyQSL</a:t>
            </a:r>
            <a:r>
              <a:rPr lang="en-GB" altLang="en-US" sz="3600" dirty="0" smtClean="0"/>
              <a:t> showing basic </a:t>
            </a:r>
            <a:r>
              <a:rPr lang="en-GB" altLang="en-US" sz="3600" dirty="0" err="1" smtClean="0"/>
              <a:t>db</a:t>
            </a:r>
            <a:r>
              <a:rPr lang="en-GB" altLang="en-US" sz="3600" dirty="0" smtClean="0"/>
              <a:t> functions (add / delete / modify / view)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Use of loops / branching / a few classes / minimal use of libraries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 smtClean="0"/>
          </a:p>
          <a:p>
            <a:pPr marL="1119980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4000" dirty="0" smtClean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0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7989189" cy="715963"/>
          </a:xfrm>
        </p:spPr>
        <p:txBody>
          <a:bodyPr/>
          <a:lstStyle/>
          <a:p>
            <a:pPr algn="ctr">
              <a:spcBef>
                <a:spcPts val="2999"/>
              </a:spcBef>
            </a:pPr>
            <a:r>
              <a:rPr lang="es-ES" altLang="en-US" sz="4000" b="0" dirty="0" err="1">
                <a:solidFill>
                  <a:srgbClr val="0070C0"/>
                </a:solidFill>
              </a:rPr>
              <a:t>Criterion</a:t>
            </a:r>
            <a:r>
              <a:rPr lang="es-ES" altLang="en-US" sz="4000" b="0" dirty="0">
                <a:solidFill>
                  <a:srgbClr val="0070C0"/>
                </a:solidFill>
              </a:rPr>
              <a:t> </a:t>
            </a:r>
            <a:r>
              <a:rPr lang="es-ES" altLang="en-US" sz="4000" b="0" dirty="0" smtClean="0">
                <a:solidFill>
                  <a:srgbClr val="0070C0"/>
                </a:solidFill>
              </a:rPr>
              <a:t>C – Use of Tools</a:t>
            </a:r>
            <a:endParaRPr lang="es-ES" altLang="en-US" sz="4000" b="0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1066800"/>
            <a:ext cx="8610600" cy="4621804"/>
          </a:xfrm>
        </p:spPr>
        <p:txBody>
          <a:bodyPr/>
          <a:lstStyle/>
          <a:p>
            <a:pPr marL="911874" lvl="1" indent="0">
              <a:buNone/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Be careful with the use of software tools that do much of the work for the student, e.g.</a:t>
            </a:r>
            <a:endParaRPr lang="en-GB" altLang="en-US" sz="3600" dirty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Access 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Excel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smtClean="0"/>
              <a:t>Scratch</a:t>
            </a:r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r>
              <a:rPr lang="en-GB" altLang="en-US" sz="3600" dirty="0" err="1" smtClean="0"/>
              <a:t>Greenfoot</a:t>
            </a:r>
            <a:r>
              <a:rPr lang="en-GB" altLang="en-US" sz="3600" dirty="0" smtClean="0"/>
              <a:t> </a:t>
            </a:r>
            <a:r>
              <a:rPr lang="en-GB" altLang="en-US" sz="3600" dirty="0" err="1" smtClean="0"/>
              <a:t>etc</a:t>
            </a:r>
            <a:endParaRPr lang="en-GB" altLang="en-US" sz="3600" dirty="0" smtClean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 smtClean="0"/>
          </a:p>
          <a:p>
            <a:pPr marL="1119980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4000" dirty="0" smtClean="0"/>
          </a:p>
          <a:p>
            <a:pPr marL="1483374" lvl="1" indent="-571500">
              <a:tabLst>
                <a:tab pos="340370" algn="l"/>
                <a:tab pos="444856" algn="l"/>
                <a:tab pos="892876" algn="l"/>
                <a:tab pos="1340901" algn="l"/>
                <a:tab pos="1788919" algn="l"/>
                <a:tab pos="2236942" algn="l"/>
                <a:tab pos="2684965" algn="l"/>
                <a:tab pos="3132989" algn="l"/>
                <a:tab pos="3581010" algn="l"/>
                <a:tab pos="4029034" algn="l"/>
                <a:tab pos="4477052" algn="l"/>
                <a:tab pos="4925074" algn="l"/>
                <a:tab pos="5373096" algn="l"/>
                <a:tab pos="5821118" algn="l"/>
                <a:tab pos="6269140" algn="l"/>
                <a:tab pos="6717161" algn="l"/>
                <a:tab pos="7165182" algn="l"/>
                <a:tab pos="7613203" algn="l"/>
                <a:tab pos="8061225" algn="l"/>
                <a:tab pos="8509250" algn="l"/>
                <a:tab pos="8957271" algn="l"/>
              </a:tabLst>
            </a:pPr>
            <a:endParaRPr lang="en-GB" altLang="en-US" sz="36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37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heme/theme1.xml><?xml version="1.0" encoding="utf-8"?>
<a:theme xmlns:a="http://schemas.openxmlformats.org/drawingml/2006/main" name="DP-Presentation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P-Presentation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P-Presentation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DP-Presentation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DP-Presentation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DP-Presentation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493</Words>
  <Application>Microsoft Office PowerPoint</Application>
  <PresentationFormat>On-screen Show (4:3)</PresentationFormat>
  <Paragraphs>95</Paragraphs>
  <Slides>13</Slides>
  <Notes>13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DP-Presentation</vt:lpstr>
      <vt:lpstr>1_DP-Presentation</vt:lpstr>
      <vt:lpstr>2_DP-Presentation</vt:lpstr>
      <vt:lpstr>3_DP-Presentation</vt:lpstr>
      <vt:lpstr>4_DP-Presentation</vt:lpstr>
      <vt:lpstr>5_DP-Presentation</vt:lpstr>
      <vt:lpstr>PowerPoint Presentation</vt:lpstr>
      <vt:lpstr>IA Overview</vt:lpstr>
      <vt:lpstr>Criterion A</vt:lpstr>
      <vt:lpstr>Criterion A - Weakness</vt:lpstr>
      <vt:lpstr>Criterion B</vt:lpstr>
      <vt:lpstr>Criterion B - Weakness</vt:lpstr>
      <vt:lpstr>Criterion C</vt:lpstr>
      <vt:lpstr>Criterion C – Complexity???</vt:lpstr>
      <vt:lpstr>Criterion C – Use of Tools</vt:lpstr>
      <vt:lpstr>Criterion D</vt:lpstr>
      <vt:lpstr>Criterion D - Weakness</vt:lpstr>
      <vt:lpstr>Criterion E</vt:lpstr>
      <vt:lpstr>Criterion E - Weaknes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User</cp:lastModifiedBy>
  <cp:revision>18</cp:revision>
  <dcterms:created xsi:type="dcterms:W3CDTF">2016-12-05T08:55:53Z</dcterms:created>
  <dcterms:modified xsi:type="dcterms:W3CDTF">2016-12-05T09:34:27Z</dcterms:modified>
</cp:coreProperties>
</file>